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4"/>
  </p:notesMasterIdLst>
  <p:sldIdLst>
    <p:sldId id="302" r:id="rId2"/>
    <p:sldId id="332" r:id="rId3"/>
    <p:sldId id="319" r:id="rId4"/>
    <p:sldId id="272" r:id="rId5"/>
    <p:sldId id="312" r:id="rId6"/>
    <p:sldId id="313" r:id="rId7"/>
    <p:sldId id="314" r:id="rId8"/>
    <p:sldId id="299" r:id="rId9"/>
    <p:sldId id="275" r:id="rId10"/>
    <p:sldId id="320" r:id="rId11"/>
    <p:sldId id="321" r:id="rId12"/>
    <p:sldId id="322" r:id="rId13"/>
    <p:sldId id="323" r:id="rId14"/>
    <p:sldId id="324" r:id="rId15"/>
    <p:sldId id="325" r:id="rId16"/>
    <p:sldId id="287" r:id="rId17"/>
    <p:sldId id="330" r:id="rId18"/>
    <p:sldId id="288" r:id="rId19"/>
    <p:sldId id="327" r:id="rId20"/>
    <p:sldId id="328" r:id="rId21"/>
    <p:sldId id="276" r:id="rId22"/>
    <p:sldId id="292" r:id="rId23"/>
    <p:sldId id="295" r:id="rId24"/>
    <p:sldId id="296" r:id="rId25"/>
    <p:sldId id="329" r:id="rId26"/>
    <p:sldId id="308" r:id="rId27"/>
    <p:sldId id="318" r:id="rId28"/>
    <p:sldId id="281" r:id="rId29"/>
    <p:sldId id="300" r:id="rId30"/>
    <p:sldId id="301" r:id="rId31"/>
    <p:sldId id="333" r:id="rId32"/>
    <p:sldId id="331" r:id="rId33"/>
  </p:sldIdLst>
  <p:sldSz cx="12192000" cy="6858000"/>
  <p:notesSz cx="7086600" cy="93726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A7BDE9"/>
    <a:srgbClr val="3264C8"/>
    <a:srgbClr val="7F9FDF"/>
    <a:srgbClr val="FFFFFF"/>
    <a:srgbClr val="003399"/>
    <a:srgbClr val="0000FF"/>
    <a:srgbClr val="CCFFCC"/>
    <a:srgbClr val="DFE8F1"/>
    <a:srgbClr val="C8D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04" autoAdjust="0"/>
    <p:restoredTop sz="93073" autoAdjust="0"/>
  </p:normalViewPr>
  <p:slideViewPr>
    <p:cSldViewPr showGuides="1">
      <p:cViewPr varScale="1">
        <p:scale>
          <a:sx n="147" d="100"/>
          <a:sy n="147" d="100"/>
        </p:scale>
        <p:origin x="208" y="92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1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92" r:id="rId3"/>
    <p:sldLayoutId id="2147483768" r:id="rId4"/>
    <p:sldLayoutId id="214748379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en.wikipedia.org/wiki/List_of_presidents_of_the_United_States" TargetMode="External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slickcharts.com/sp500" TargetMode="External"/><Relationship Id="rId5" Type="http://schemas.openxmlformats.org/officeDocument/2006/relationships/hyperlink" Target="https://www.slickcharts.com/nasdaq100" TargetMode="External"/><Relationship Id="rId4" Type="http://schemas.openxmlformats.org/officeDocument/2006/relationships/image" Target="../media/image17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17465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287685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B4P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</a:t>
            </a:r>
            <a:r>
              <a:rPr lang="en-US" sz="1400" b="1" dirty="0">
                <a:solidFill>
                  <a:srgbClr val="003399"/>
                </a:solidFill>
              </a:rPr>
              <a:t>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language allows you to express yourself easily in plain English to solve the problem. 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053000"/>
            <a:ext cx="11196980" cy="4896544"/>
          </a:xfrm>
        </p:spPr>
        <p:txBody>
          <a:bodyPr>
            <a:normAutofit fontScale="92500" lnSpcReduction="1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479376" y="494100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"Think Big" when writing code – and do great things with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56397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2 Tables: Problem Stat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0999"/>
            <a:ext cx="3887999" cy="151371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981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1" y="3141032"/>
            <a:ext cx="2664000" cy="194420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480000" y="5157000"/>
            <a:ext cx="1123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80000" y="2853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269000"/>
            <a:ext cx="4189049" cy="385495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535584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85FC763-1FBF-4093-B225-D79F6B9C25B9}"/>
              </a:ext>
            </a:extLst>
          </p:cNvPr>
          <p:cNvGrpSpPr/>
          <p:nvPr/>
        </p:nvGrpSpPr>
        <p:grpSpPr>
          <a:xfrm>
            <a:off x="4872000" y="2349000"/>
            <a:ext cx="1974449" cy="1202399"/>
            <a:chOff x="4625551" y="2005520"/>
            <a:chExt cx="1974449" cy="1202399"/>
          </a:xfrm>
        </p:grpSpPr>
        <p:grpSp>
          <p:nvGrpSpPr>
            <p:cNvPr id="23" name="Gruppieren 8">
              <a:extLst>
                <a:ext uri="{FF2B5EF4-FFF2-40B4-BE49-F238E27FC236}">
                  <a16:creationId xmlns:a16="http://schemas.microsoft.com/office/drawing/2014/main" id="{7E7518FD-2037-4177-8A1B-2672B250FEFD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0" name="B4P">
                <a:extLst>
                  <a:ext uri="{FF2B5EF4-FFF2-40B4-BE49-F238E27FC236}">
                    <a16:creationId xmlns:a16="http://schemas.microsoft.com/office/drawing/2014/main" id="{C7CDC852-DED3-4E07-A896-6A52F9858254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1" name="Triangle">
                <a:extLst>
                  <a:ext uri="{FF2B5EF4-FFF2-40B4-BE49-F238E27FC236}">
                    <a16:creationId xmlns:a16="http://schemas.microsoft.com/office/drawing/2014/main" id="{263946F8-732A-42EF-B1ED-1DD30373223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4" name="Gruppieren 20">
              <a:extLst>
                <a:ext uri="{FF2B5EF4-FFF2-40B4-BE49-F238E27FC236}">
                  <a16:creationId xmlns:a16="http://schemas.microsoft.com/office/drawing/2014/main" id="{1CB3CAFA-3ED1-4FBC-8C86-0847DEF50AD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7" name="Rechteck: abgerundete Ecken 14">
                <a:extLst>
                  <a:ext uri="{FF2B5EF4-FFF2-40B4-BE49-F238E27FC236}">
                    <a16:creationId xmlns:a16="http://schemas.microsoft.com/office/drawing/2014/main" id="{6813E270-1208-48E6-BB2F-17F6236B1029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4P">
                <a:extLst>
                  <a:ext uri="{FF2B5EF4-FFF2-40B4-BE49-F238E27FC236}">
                    <a16:creationId xmlns:a16="http://schemas.microsoft.com/office/drawing/2014/main" id="{82628F3A-6863-48A1-8375-17D016BFDA9D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9" name="Triangle">
                <a:extLst>
                  <a:ext uri="{FF2B5EF4-FFF2-40B4-BE49-F238E27FC236}">
                    <a16:creationId xmlns:a16="http://schemas.microsoft.com/office/drawing/2014/main" id="{B26EC17E-5703-4D61-9C43-C8FD3CE3AEC0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5" name="Right Arrow 26">
              <a:extLst>
                <a:ext uri="{FF2B5EF4-FFF2-40B4-BE49-F238E27FC236}">
                  <a16:creationId xmlns:a16="http://schemas.microsoft.com/office/drawing/2014/main" id="{E6F73B7B-F7C1-4292-B82E-C1187251FC43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ght Arrow 27">
              <a:extLst>
                <a:ext uri="{FF2B5EF4-FFF2-40B4-BE49-F238E27FC236}">
                  <a16:creationId xmlns:a16="http://schemas.microsoft.com/office/drawing/2014/main" id="{397EF856-B881-405F-B43F-838C56034E2E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314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56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989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716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9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21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78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Overview:  Integration and Analytics Engine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250022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423803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298083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547946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Multiple complex 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091423" y="1341000"/>
            <a:ext cx="205524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19685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sz="1500"/>
              <a:t>B4P</a:t>
            </a:r>
            <a:r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3784461" y="5715176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4792461" y="5909698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Database exports (Salesforce, Oracle, SAP,  </a:t>
            </a:r>
            <a:r>
              <a:rPr lang="en-US" sz="1000" dirty="0" err="1"/>
              <a:t>Filemaker</a:t>
            </a:r>
            <a:r>
              <a:rPr sz="1000" dirty="0"/>
              <a:t>,</a:t>
            </a:r>
            <a:r>
              <a:rPr lang="en-US" sz="1000" dirty="0"/>
              <a:t> et al</a:t>
            </a:r>
            <a:r>
              <a:rPr sz="1000" dirty="0"/>
              <a:t>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4792461" y="610421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4792461" y="6298740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5951305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5991888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3499954" y="2303704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3499954" y="3280398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664757" y="2286707"/>
            <a:ext cx="1828396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210554" y="2566604"/>
            <a:ext cx="2633112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1866065" y="3400185"/>
            <a:ext cx="924383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1900699" y="2417224"/>
            <a:ext cx="843410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1899044" y="3905879"/>
            <a:ext cx="85842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5619222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307955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processing</a:t>
            </a:r>
          </a:p>
        </p:txBody>
      </p:sp>
      <p:grpSp>
        <p:nvGrpSpPr>
          <p:cNvPr id="140" name="Group">
            <a:extLst>
              <a:ext uri="{FF2B5EF4-FFF2-40B4-BE49-F238E27FC236}">
                <a16:creationId xmlns:a16="http://schemas.microsoft.com/office/drawing/2014/main" id="{689E4E69-8CE2-E140-B49A-E219F0D8F976}"/>
              </a:ext>
            </a:extLst>
          </p:cNvPr>
          <p:cNvGrpSpPr/>
          <p:nvPr/>
        </p:nvGrpSpPr>
        <p:grpSpPr>
          <a:xfrm>
            <a:off x="3216351" y="2377068"/>
            <a:ext cx="288496" cy="329374"/>
            <a:chOff x="0" y="0"/>
            <a:chExt cx="288494" cy="329373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0" y="0"/>
              <a:ext cx="175088" cy="256650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52341" y="36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113406" y="72723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4576032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5" name="World">
            <a:extLst>
              <a:ext uri="{FF2B5EF4-FFF2-40B4-BE49-F238E27FC236}">
                <a16:creationId xmlns:a16="http://schemas.microsoft.com/office/drawing/2014/main" id="{2B91FD41-34B0-E148-87B0-2A3E0556F0B8}"/>
              </a:ext>
            </a:extLst>
          </p:cNvPr>
          <p:cNvSpPr/>
          <p:nvPr/>
        </p:nvSpPr>
        <p:spPr>
          <a:xfrm>
            <a:off x="3224584" y="3900397"/>
            <a:ext cx="272029" cy="2720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6350">
            <a:solidFill>
              <a:srgbClr val="535353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4843622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104386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040205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041746" y="4716930"/>
            <a:ext cx="294846" cy="21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grpSp>
        <p:nvGrpSpPr>
          <p:cNvPr id="150" name="Group">
            <a:extLst>
              <a:ext uri="{FF2B5EF4-FFF2-40B4-BE49-F238E27FC236}">
                <a16:creationId xmlns:a16="http://schemas.microsoft.com/office/drawing/2014/main" id="{77466A44-5922-E845-B31A-1C664363E0EE}"/>
              </a:ext>
            </a:extLst>
          </p:cNvPr>
          <p:cNvGrpSpPr/>
          <p:nvPr/>
        </p:nvGrpSpPr>
        <p:grpSpPr>
          <a:xfrm>
            <a:off x="3216351" y="3361716"/>
            <a:ext cx="288496" cy="352957"/>
            <a:chOff x="0" y="0"/>
            <a:chExt cx="288495" cy="352954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0" y="0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87146" y="87146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110958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4614637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4623122" y="4524849"/>
            <a:ext cx="390201" cy="226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114184" y="2509358"/>
            <a:ext cx="795894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pic>
        <p:nvPicPr>
          <p:cNvPr id="157" name="excel2.png" descr="excel2.png">
            <a:extLst>
              <a:ext uri="{FF2B5EF4-FFF2-40B4-BE49-F238E27FC236}">
                <a16:creationId xmlns:a16="http://schemas.microsoft.com/office/drawing/2014/main" id="{1CBF0D85-39A0-434B-BED6-2CAF347B02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1082"/>
          </a:blip>
          <a:stretch>
            <a:fillRect/>
          </a:stretch>
        </p:blipFill>
        <p:spPr>
          <a:xfrm>
            <a:off x="3195911" y="2875287"/>
            <a:ext cx="329375" cy="32937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4792461" y="5715176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sz="1000" dirty="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047714" y="5914993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124659" y="6130993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web data</a:t>
            </a:r>
            <a:endParaRPr lang="en-US" sz="1000" dirty="0"/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052523" y="631677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819104" y="5665238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024757" y="6037551"/>
            <a:ext cx="1640345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234941" y="2997931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099716" y="2853129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1722251" y="2897840"/>
            <a:ext cx="121797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spreadsheets</a:t>
            </a:r>
          </a:p>
        </p:txBody>
      </p:sp>
      <p:pic>
        <p:nvPicPr>
          <p:cNvPr id="192" name="excel2.png" descr="excel2.png">
            <a:extLst>
              <a:ext uri="{FF2B5EF4-FFF2-40B4-BE49-F238E27FC236}">
                <a16:creationId xmlns:a16="http://schemas.microsoft.com/office/drawing/2014/main" id="{8E47EEA0-0A91-D64B-AC96-84590B72AF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7327903" y="3057968"/>
            <a:ext cx="442056" cy="44205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to add style to the Excel fi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1989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4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124736"/>
            <a:ext cx="3853842" cy="31682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4000" y="1485000"/>
            <a:ext cx="5688000" cy="202463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2CAAC07-0D4C-474C-91D9-CBB8C9AF5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4000" y="3962438"/>
            <a:ext cx="5688000" cy="34676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E031BE2-414B-44CE-B04E-280C30B2969B}"/>
              </a:ext>
            </a:extLst>
          </p:cNvPr>
          <p:cNvSpPr/>
          <p:nvPr/>
        </p:nvSpPr>
        <p:spPr>
          <a:xfrm>
            <a:off x="5999362" y="3717000"/>
            <a:ext cx="3048638" cy="17977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5" name="Group 23">
            <a:extLst>
              <a:ext uri="{FF2B5EF4-FFF2-40B4-BE49-F238E27FC236}">
                <a16:creationId xmlns:a16="http://schemas.microsoft.com/office/drawing/2014/main" id="{1F1AF0A7-EA8D-4942-B0EA-047321BB97E0}"/>
              </a:ext>
            </a:extLst>
          </p:cNvPr>
          <p:cNvGrpSpPr/>
          <p:nvPr/>
        </p:nvGrpSpPr>
        <p:grpSpPr>
          <a:xfrm>
            <a:off x="4152000" y="2349000"/>
            <a:ext cx="1974449" cy="1202399"/>
            <a:chOff x="4625551" y="2005520"/>
            <a:chExt cx="1974449" cy="1202399"/>
          </a:xfrm>
        </p:grpSpPr>
        <p:grpSp>
          <p:nvGrpSpPr>
            <p:cNvPr id="16" name="Gruppieren 8">
              <a:extLst>
                <a:ext uri="{FF2B5EF4-FFF2-40B4-BE49-F238E27FC236}">
                  <a16:creationId xmlns:a16="http://schemas.microsoft.com/office/drawing/2014/main" id="{60A85A6B-8F9A-4742-B7CE-87B520F851E5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3" name="B4P">
                <a:extLst>
                  <a:ext uri="{FF2B5EF4-FFF2-40B4-BE49-F238E27FC236}">
                    <a16:creationId xmlns:a16="http://schemas.microsoft.com/office/drawing/2014/main" id="{BE3B6DB1-4378-427E-873B-7D12B1B40A38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4" name="Triangle">
                <a:extLst>
                  <a:ext uri="{FF2B5EF4-FFF2-40B4-BE49-F238E27FC236}">
                    <a16:creationId xmlns:a16="http://schemas.microsoft.com/office/drawing/2014/main" id="{C4558518-6738-4D7F-8ADC-B44901DA3E91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7" name="Gruppieren 20">
              <a:extLst>
                <a:ext uri="{FF2B5EF4-FFF2-40B4-BE49-F238E27FC236}">
                  <a16:creationId xmlns:a16="http://schemas.microsoft.com/office/drawing/2014/main" id="{D8FA10F9-EC04-4FAA-A485-A4D04862ECB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0" name="Rechteck: abgerundete Ecken 14">
                <a:extLst>
                  <a:ext uri="{FF2B5EF4-FFF2-40B4-BE49-F238E27FC236}">
                    <a16:creationId xmlns:a16="http://schemas.microsoft.com/office/drawing/2014/main" id="{EEBE0EBE-2186-445E-B903-D5C52FE04B1F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B4P">
                <a:extLst>
                  <a:ext uri="{FF2B5EF4-FFF2-40B4-BE49-F238E27FC236}">
                    <a16:creationId xmlns:a16="http://schemas.microsoft.com/office/drawing/2014/main" id="{7CC6FBEC-2667-47B8-9B65-0D84041DB77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2" name="Triangle">
                <a:extLst>
                  <a:ext uri="{FF2B5EF4-FFF2-40B4-BE49-F238E27FC236}">
                    <a16:creationId xmlns:a16="http://schemas.microsoft.com/office/drawing/2014/main" id="{D4182CC0-8043-4AEB-A888-66F49DAF7832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8" name="Right Arrow 26">
              <a:extLst>
                <a:ext uri="{FF2B5EF4-FFF2-40B4-BE49-F238E27FC236}">
                  <a16:creationId xmlns:a16="http://schemas.microsoft.com/office/drawing/2014/main" id="{E7B5A01D-BE18-41D6-9F84-82B1519D069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ight Arrow 27">
              <a:extLst>
                <a:ext uri="{FF2B5EF4-FFF2-40B4-BE49-F238E27FC236}">
                  <a16:creationId xmlns:a16="http://schemas.microsoft.com/office/drawing/2014/main" id="{C4AB0D64-C0AD-49F4-BEAD-7300D9BCC0BD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480000" y="4581000"/>
            <a:ext cx="11232000" cy="1656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: </a:t>
            </a:r>
            <a:r>
              <a:rPr lang="de-CH" sz="1400" dirty="0">
                <a:hlinkClick r:id="rId5"/>
              </a:rPr>
              <a:t>https://en.wikipedia.org/wiki/List_of_presidents_of_the_United_States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enerate a nice table with </a:t>
            </a:r>
            <a:r>
              <a:rPr lang="en-US" sz="1400" b="1" dirty="0">
                <a:solidFill>
                  <a:schemeClr val="tx1"/>
                </a:solidFill>
              </a:rPr>
              <a:t>parties colored differently</a:t>
            </a: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6 Statements, 0 Loops and 0 Variables to Straighten up the President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125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2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521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3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0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65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373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6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069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347" y="1125000"/>
            <a:ext cx="4715559" cy="27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087" y="1125000"/>
            <a:ext cx="4923917" cy="2547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7A6C81-D033-4C1E-85E6-C9A42E7E0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087" y="3933032"/>
            <a:ext cx="4923913" cy="3928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D6D4DA5-4A7B-4732-9FEF-8879EE64B7B8}"/>
              </a:ext>
            </a:extLst>
          </p:cNvPr>
          <p:cNvSpPr/>
          <p:nvPr/>
        </p:nvSpPr>
        <p:spPr>
          <a:xfrm>
            <a:off x="6860095" y="3573000"/>
            <a:ext cx="2346495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A0E94558-0395-497B-8191-BBE7AD8A7036}"/>
              </a:ext>
            </a:extLst>
          </p:cNvPr>
          <p:cNvGrpSpPr/>
          <p:nvPr/>
        </p:nvGrpSpPr>
        <p:grpSpPr>
          <a:xfrm>
            <a:off x="5016000" y="2349000"/>
            <a:ext cx="1974449" cy="1202399"/>
            <a:chOff x="4625551" y="2005520"/>
            <a:chExt cx="1974449" cy="1202399"/>
          </a:xfrm>
        </p:grpSpPr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id="{A5255EB2-F610-4EB2-AFD7-BEAC88A8DE9F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4" name="B4P">
                <a:extLst>
                  <a:ext uri="{FF2B5EF4-FFF2-40B4-BE49-F238E27FC236}">
                    <a16:creationId xmlns:a16="http://schemas.microsoft.com/office/drawing/2014/main" id="{1E1246D7-E7A9-4DD4-809E-EDB323AC6A8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5" name="Triangle">
                <a:extLst>
                  <a:ext uri="{FF2B5EF4-FFF2-40B4-BE49-F238E27FC236}">
                    <a16:creationId xmlns:a16="http://schemas.microsoft.com/office/drawing/2014/main" id="{319B85EC-4E71-4A3C-B280-E0822D0875E4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8" name="Gruppieren 20">
              <a:extLst>
                <a:ext uri="{FF2B5EF4-FFF2-40B4-BE49-F238E27FC236}">
                  <a16:creationId xmlns:a16="http://schemas.microsoft.com/office/drawing/2014/main" id="{794BF75D-169A-4979-9582-0A9D184935C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1" name="Rechteck: abgerundete Ecken 14">
                <a:extLst>
                  <a:ext uri="{FF2B5EF4-FFF2-40B4-BE49-F238E27FC236}">
                    <a16:creationId xmlns:a16="http://schemas.microsoft.com/office/drawing/2014/main" id="{60BD8972-3B69-40F4-892A-BDCC59145738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B4P">
                <a:extLst>
                  <a:ext uri="{FF2B5EF4-FFF2-40B4-BE49-F238E27FC236}">
                    <a16:creationId xmlns:a16="http://schemas.microsoft.com/office/drawing/2014/main" id="{9F5C0BBC-EE81-4948-8B69-94DC5BA4536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3" name="Triangle">
                <a:extLst>
                  <a:ext uri="{FF2B5EF4-FFF2-40B4-BE49-F238E27FC236}">
                    <a16:creationId xmlns:a16="http://schemas.microsoft.com/office/drawing/2014/main" id="{008E8340-2D22-46F2-B2F6-C7D82753D807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9" name="Right Arrow 26">
              <a:extLst>
                <a:ext uri="{FF2B5EF4-FFF2-40B4-BE49-F238E27FC236}">
                  <a16:creationId xmlns:a16="http://schemas.microsoft.com/office/drawing/2014/main" id="{BA8A6527-1C76-4ADB-BA1E-E2348F80260F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ight Arrow 27">
              <a:extLst>
                <a:ext uri="{FF2B5EF4-FFF2-40B4-BE49-F238E27FC236}">
                  <a16:creationId xmlns:a16="http://schemas.microsoft.com/office/drawing/2014/main" id="{3ACF9083-0313-49E3-B800-34251582E88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480000" y="4725000"/>
            <a:ext cx="11232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5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6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3 Statements, 1 loop and 1 variable do the Job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436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additional statements for style and colo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0770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84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: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0166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sing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02FF7FE-1E71-4643-BD24-E3D93C1C4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4000" y="2133000"/>
            <a:ext cx="7992000" cy="3240000"/>
          </a:xfrm>
        </p:spPr>
        <p:txBody>
          <a:bodyPr/>
          <a:lstStyle/>
          <a:p>
            <a:pPr algn="ctr"/>
            <a:r>
              <a:rPr lang="en-US" sz="6000" dirty="0"/>
              <a:t>DEPRECATED ARCHIVE</a:t>
            </a:r>
          </a:p>
        </p:txBody>
      </p:sp>
    </p:spTree>
    <p:extLst>
      <p:ext uri="{BB962C8B-B14F-4D97-AF65-F5344CB8AC3E}">
        <p14:creationId xmlns:p14="http://schemas.microsoft.com/office/powerpoint/2010/main" val="16077881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feil: Fünfeck 64">
            <a:extLst>
              <a:ext uri="{FF2B5EF4-FFF2-40B4-BE49-F238E27FC236}">
                <a16:creationId xmlns:a16="http://schemas.microsoft.com/office/drawing/2014/main" id="{7677690F-2825-438D-99CD-CE271A13779E}"/>
              </a:ext>
            </a:extLst>
          </p:cNvPr>
          <p:cNvSpPr/>
          <p:nvPr/>
        </p:nvSpPr>
        <p:spPr>
          <a:xfrm flipH="1">
            <a:off x="667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" name="Pfeil: Fünfeck 3">
            <a:extLst>
              <a:ext uri="{FF2B5EF4-FFF2-40B4-BE49-F238E27FC236}">
                <a16:creationId xmlns:a16="http://schemas.microsoft.com/office/drawing/2014/main" id="{1FFD1BFE-0814-4E73-A3C8-9076B49F2A2F}"/>
              </a:ext>
            </a:extLst>
          </p:cNvPr>
          <p:cNvSpPr/>
          <p:nvPr/>
        </p:nvSpPr>
        <p:spPr>
          <a:xfrm>
            <a:off x="163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Analytics and Execution Engine: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315514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992000" y="2905683"/>
            <a:ext cx="924383" cy="3073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992000" y="2197149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992000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Web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6175123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476775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584000" y="1341000"/>
            <a:ext cx="288000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dirty="0" err="1"/>
              <a:t>B4P</a:t>
            </a:r>
            <a:r>
              <a:rPr lang="en-US" dirty="0"/>
              <a:t> Data Integration and</a:t>
            </a:r>
            <a:br>
              <a:rPr lang="en-US" dirty="0"/>
            </a:br>
            <a:r>
              <a:rPr lang="en-US" dirty="0"/>
              <a:t>Analytics Engin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342336" y="2897635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252185" y="21330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328385" y="21838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417285" y="2234601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872647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283764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632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Complex</a:t>
            </a:r>
          </a:p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5062972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631289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536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noAutofit/>
          </a:bodyPr>
          <a:lstStyle/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rehensive Analysis</a:t>
            </a:r>
          </a:p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ed 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470425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536133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594562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574083" y="4248659"/>
            <a:ext cx="316752" cy="23083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639642" y="2844914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626942" y="358950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649546" y="213300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8195647" y="2205000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8192378" y="292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4005771" y="2766528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328378" y="2757906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076D2205-CCF8-4BEC-9461-8F30A2BAE797}"/>
              </a:ext>
            </a:extLst>
          </p:cNvPr>
          <p:cNvSpPr txBox="1"/>
          <p:nvPr/>
        </p:nvSpPr>
        <p:spPr>
          <a:xfrm>
            <a:off x="8192378" y="364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output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00FA5A38-322D-4DBF-954E-771F03CD47BF}"/>
              </a:ext>
            </a:extLst>
          </p:cNvPr>
          <p:cNvCxnSpPr>
            <a:cxnSpLocks/>
          </p:cNvCxnSpPr>
          <p:nvPr/>
        </p:nvCxnSpPr>
        <p:spPr>
          <a:xfrm>
            <a:off x="1704000" y="5085000"/>
            <a:ext cx="842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">
            <a:extLst>
              <a:ext uri="{FF2B5EF4-FFF2-40B4-BE49-F238E27FC236}">
                <a16:creationId xmlns:a16="http://schemas.microsoft.com/office/drawing/2014/main" id="{6165BFDE-21D5-4C83-8E11-E52757C45210}"/>
              </a:ext>
            </a:extLst>
          </p:cNvPr>
          <p:cNvSpPr/>
          <p:nvPr/>
        </p:nvSpPr>
        <p:spPr>
          <a:xfrm rot="5400000">
            <a:off x="5743041" y="2989959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B4P">
            <a:extLst>
              <a:ext uri="{FF2B5EF4-FFF2-40B4-BE49-F238E27FC236}">
                <a16:creationId xmlns:a16="http://schemas.microsoft.com/office/drawing/2014/main" id="{FA69CB53-BDD1-4819-B0E7-7CD4FBAB3746}"/>
              </a:ext>
            </a:extLst>
          </p:cNvPr>
          <p:cNvSpPr txBox="1"/>
          <p:nvPr/>
        </p:nvSpPr>
        <p:spPr>
          <a:xfrm>
            <a:off x="5346365" y="2421000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53" name="TextBox 37">
            <a:extLst>
              <a:ext uri="{FF2B5EF4-FFF2-40B4-BE49-F238E27FC236}">
                <a16:creationId xmlns:a16="http://schemas.microsoft.com/office/drawing/2014/main" id="{B734889D-B431-4E73-B9F6-917DC764AA95}"/>
              </a:ext>
            </a:extLst>
          </p:cNvPr>
          <p:cNvSpPr txBox="1"/>
          <p:nvPr/>
        </p:nvSpPr>
        <p:spPr>
          <a:xfrm>
            <a:off x="3216000" y="5229000"/>
            <a:ext cx="5760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Fil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cel (.xlsx, .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xlsm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, CSV/TSV, HTML/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HTML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XML, JSON, ZIP, text files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bas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ports (SAP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lemake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Oracle, MS Access, Salesforce, etc.)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 data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Internet sources of structured data (web sites, web services)</a:t>
            </a:r>
          </a:p>
        </p:txBody>
      </p:sp>
      <p:sp>
        <p:nvSpPr>
          <p:cNvPr id="54" name="TextBox 37">
            <a:extLst>
              <a:ext uri="{FF2B5EF4-FFF2-40B4-BE49-F238E27FC236}">
                <a16:creationId xmlns:a16="http://schemas.microsoft.com/office/drawing/2014/main" id="{6228024A-8D76-4718-A047-B48653DF6B1F}"/>
              </a:ext>
            </a:extLst>
          </p:cNvPr>
          <p:cNvSpPr txBox="1"/>
          <p:nvPr/>
        </p:nvSpPr>
        <p:spPr>
          <a:xfrm>
            <a:off x="1704000" y="5229000"/>
            <a:ext cx="1296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97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methods of data management are inadequat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task repeating regularl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484784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348880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149080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484784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4869000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28498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133000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260837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285000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340768"/>
            <a:ext cx="540004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1772892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133000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1772892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2564904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3609000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2564904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421000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401108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4521534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3933056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3933000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3861000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4773562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4653136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429000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2996952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373056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068960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2496000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2853000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520000" y="2277000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149000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3933000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4653056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Problem Statement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Solutions are Complex and Unsustainabl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depending on others, expensive, bothering others repeatedly for approval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others having difficulties understanding your work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 code and poor performance for tasks if they are not that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can become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will drop significantly when working with high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very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Analytics and Execution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Analysis with Maximal Efficiency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342509" y="587696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3854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3079109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403277" y="4240413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5153854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369854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74101" y="5117854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274598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406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480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</a:t>
            </a:r>
            <a:r>
              <a:rPr lang="en-US" sz="1400" b="1">
                <a:solidFill>
                  <a:schemeClr val="bg1"/>
                </a:solidFill>
              </a:rPr>
              <a:t>supported </a:t>
            </a:r>
            <a:r>
              <a:rPr lang="en-US" sz="1400" b="1" dirty="0">
                <a:solidFill>
                  <a:schemeClr val="bg1"/>
                </a:solidFill>
              </a:rPr>
              <a:t>easily using </a:t>
            </a:r>
            <a:r>
              <a:rPr lang="en-US" sz="1400" b="1">
                <a:solidFill>
                  <a:schemeClr val="bg1"/>
                </a:solidFill>
              </a:rPr>
              <a:t>a B4P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>
                <a:solidFill>
                  <a:schemeClr val="bg1"/>
                </a:solidFill>
              </a:rPr>
              <a:t>library extensio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847976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56</TotalTime>
  <Words>6117</Words>
  <Application>Microsoft Macintosh PowerPoint</Application>
  <PresentationFormat>Widescreen</PresentationFormat>
  <Paragraphs>817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Overview:  Integration and Analytics Engine</vt:lpstr>
      <vt:lpstr>B4P: Table of Contents</vt:lpstr>
      <vt:lpstr>B4P: The Problem Statement Conventional methods of data management are inadequate</vt:lpstr>
      <vt:lpstr>B4P: Problem Statement Conventional Solutions are Complex and Unsustainable</vt:lpstr>
      <vt:lpstr>B4P Analytics and Execution Engine Automate your Data Analysis with Maximal Efficiency</vt:lpstr>
      <vt:lpstr>B4P Table of Contents</vt:lpstr>
      <vt:lpstr>B4P Analytics and Execution Engine Based on 14 Years of Experience Solving Problems</vt:lpstr>
      <vt:lpstr>B4P Analytics and Execution Engine Supported Data Formats</vt:lpstr>
      <vt:lpstr>B4P Table of Contents</vt:lpstr>
      <vt:lpstr>B4P Real-world Use Case #1 Information interchange between multiple different databases</vt:lpstr>
      <vt:lpstr>B4P Real-world Use Case #2 Heterogeneous data integration from branch offices worldwide</vt:lpstr>
      <vt:lpstr>B4P Real-world Use Case #3 Enriched Business Intelligence</vt:lpstr>
      <vt:lpstr>B4P Table of Contents</vt:lpstr>
      <vt:lpstr>B4P: The Language Key Benefits of a Low-Code Language Approach</vt:lpstr>
      <vt:lpstr>B4P: The Language Language Syntax and Semantics</vt:lpstr>
      <vt:lpstr>B4P Table of Contents</vt:lpstr>
      <vt:lpstr>B4P: Program Example 1 Merging 2 Tables: Problem Statement</vt:lpstr>
      <vt:lpstr>B4P Example: Low-code Solution 8 statements:  load, clean, align semantics, merge, and save</vt:lpstr>
      <vt:lpstr>B4P Example: Low-code Solution 7 additional statements to add style to the Excel file</vt:lpstr>
      <vt:lpstr>B4P: Program Example 2 U.S. Presidents from Wikipedia</vt:lpstr>
      <vt:lpstr>B4P: Program Example 2 16 Statements, 0 Loops and 0 Variables to Straighten up the Presidents</vt:lpstr>
      <vt:lpstr>B4P: Program Example 3 Stock Data (SP 500 and NASDAQ 100) Combined</vt:lpstr>
      <vt:lpstr>B4P: Program Example 3 13 Statements, 1 loop and 1 variable do the Job</vt:lpstr>
      <vt:lpstr>B4P: Program Example 3 8 additional statements for style and color</vt:lpstr>
      <vt:lpstr>B4P  Beyond Former Performance.</vt:lpstr>
      <vt:lpstr>B4P Table of Contents</vt:lpstr>
      <vt:lpstr>B4P: Beyond Former Performance New in Release 8.00</vt:lpstr>
      <vt:lpstr>B4P Use Case Automatic documentation generation for website www.b4p.app</vt:lpstr>
      <vt:lpstr>B4P Use Case Automatic Document Generation for www.b4p.app using B4P</vt:lpstr>
      <vt:lpstr>DEPRECATED ARCHIVE</vt:lpstr>
      <vt:lpstr>B4P The Analytics and Execution Engine: Overview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12</cp:revision>
  <cp:lastPrinted>2012-05-04T14:30:29Z</cp:lastPrinted>
  <dcterms:created xsi:type="dcterms:W3CDTF">2016-02-06T20:40:56Z</dcterms:created>
  <dcterms:modified xsi:type="dcterms:W3CDTF">2021-05-20T02:23:16Z</dcterms:modified>
</cp:coreProperties>
</file>